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08" autoAdjust="0"/>
    <p:restoredTop sz="96323" autoAdjust="0"/>
  </p:normalViewPr>
  <p:slideViewPr>
    <p:cSldViewPr snapToGrid="0">
      <p:cViewPr varScale="1">
        <p:scale>
          <a:sx n="125" d="100"/>
          <a:sy n="125" d="100"/>
        </p:scale>
        <p:origin x="16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9-000.pdf" TargetMode="Externa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8.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doh.wa.gov/Portals/1/Documents/1600/coronavirus/COVIDexposed.pdf" TargetMode="Externa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6.xml"/><Relationship Id="rId9" Type="http://schemas.openxmlformats.org/officeDocument/2006/relationships/hyperlink" Target="https://www.lni.wa.gov/forms-publications/F414-168-000.pdf" TargetMode="External"/></Relationships>
</file>

<file path=ppt/slides/slide1.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The State Board for Community and Technical Colleges</a:t>
            </a:r>
          </a:p>
          <a:p>
            <a:pPr lvl="1" algn="l"/>
            <a:r>
              <a:rPr lang="en-US" cap="none" dirty="0">
                <a:solidFill>
                  <a:schemeClr val="bg1"/>
                </a:solidFill>
              </a:rPr>
              <a:t>The Council of Presidents</a:t>
            </a:r>
          </a:p>
          <a:p>
            <a:pPr lvl="1" algn="l"/>
            <a:r>
              <a:rPr lang="en-US" cap="none" dirty="0">
                <a:solidFill>
                  <a:schemeClr val="bg1"/>
                </a:solidFill>
              </a:rPr>
              <a:t>The Independent Colleges of Washington</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Higher Education Re-Opening Workgroup</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0.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Safe Back-to-School Plan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1.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2.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7"/>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8"/>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3.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4.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7"/>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8"/>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5.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Washington Departm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6.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7"/>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 </a:t>
            </a:r>
            <a:r>
              <a:rPr lang="en-US" sz="1000" dirty="0">
                <a:solidFill>
                  <a:srgbClr val="575757"/>
                </a:solidFill>
              </a:rPr>
              <a:t>Association of College &amp; University Housing Officers-International, Other State'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7"/>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Safe Back-to-School Plan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7"/>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2.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3.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4.xml><?xml version="1.0" encoding="utf-8"?>
<p:sld xmlns:mc="http://schemas.openxmlformats.org/markup-compatibility/2006" xmlns:v="urn:schemas-microsoft-com:vml"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Council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dependent Colleges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ELP ME] Community and Technical Colleg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ELP ME] University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Student Achievement Council</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King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pokane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itman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hallenge Seattle</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Safe Star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 Reopening Matrix developed by the Higher Ed Leaders Re-Opening Workgroup</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Private Sector Employer Checklist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5.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HELP ME]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HELP ME]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HELP ME] as a whole both in terms of economic impact on [HELP ME]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HELP ME]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From Jan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From Terri Standish-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From Paul Francis: COP has 6 Institutions with &gt;156K students </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6.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HELP ME]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HELP ME],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HELP ME]</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New Normal"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8.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Adjusted Washington Roundtable / Challenge Seattle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National Restaurant Association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Congregate Housing and Correctional/Detention Facilities</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9.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br>
              <a:rPr lang="en-US" sz="2800" b="1" dirty="0">
                <a:solidFill>
                  <a:srgbClr val="29BA74"/>
                </a:solidFill>
              </a:rPr>
            </a:br>
            <a:r>
              <a:rPr lang="en-US" sz="1400" dirty="0">
                <a:solidFill>
                  <a:srgbClr val="575757"/>
                </a:solidFill>
              </a:rPr>
              <a:t>Institutions are developing Safe Back-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State Department of Health: </a:t>
              </a:r>
              <a:r>
                <a:rPr sz="900" dirty="0">
                  <a:solidFill>
                    <a:srgbClr val="575757"/>
                  </a:solidFill>
                  <a:hlinkClick r:id="rId7"/>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Communication of Safe Back-to-School Plan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Campus Safety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Safe Start</a:t>
              </a:r>
              <a:r>
                <a:rPr sz="900" dirty="0">
                  <a:solidFill>
                    <a:srgbClr val="575757"/>
                  </a:solidFill>
                </a:rPr>
                <a:t>" guidelines</a:t>
              </a:r>
              <a:r>
                <a:rPr lang="en-US" sz="900" dirty="0">
                  <a:solidFill>
                    <a:srgbClr val="575757"/>
                  </a:solidFill>
                </a:rPr>
                <a:t> and </a:t>
              </a:r>
              <a:r>
                <a:rPr lang="en-US" sz="900" dirty="0">
                  <a:solidFill>
                    <a:srgbClr val="575757"/>
                  </a:solidFill>
                  <a:hlinkClick r:id="rId8"/>
                </a:rPr>
                <a:t>WA Labor &amp; Industries guidelines</a:t>
              </a:r>
              <a:r>
                <a:rPr sz="900" dirty="0">
                  <a:solidFill>
                    <a:srgbClr val="575757"/>
                  </a:solidFill>
                  <a:hlinkClick r:id="rId8"/>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9"/>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Personnel Suppor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Visitor Expectations</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New Normal"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Washington State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Protecting Washingtonians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70</TotalTime>
  <Words>5943</Words>
  <Application>Microsoft Macintosh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8</cp:revision>
  <cp:lastPrinted>2000-01-01T07:00:00Z</cp:lastPrinted>
  <dcterms:created xsi:type="dcterms:W3CDTF">2020-05-27T17:34:49Z</dcterms:created>
  <dcterms:modified xsi:type="dcterms:W3CDTF">2025-09-25T14: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